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  <p:sldMasterId id="2147483726" r:id="rId2"/>
    <p:sldMasterId id="2147483739" r:id="rId3"/>
  </p:sldMasterIdLst>
  <p:notesMasterIdLst>
    <p:notesMasterId r:id="rId10"/>
  </p:notesMasterIdLst>
  <p:sldIdLst>
    <p:sldId id="309" r:id="rId4"/>
    <p:sldId id="310" r:id="rId5"/>
    <p:sldId id="295" r:id="rId6"/>
    <p:sldId id="311" r:id="rId7"/>
    <p:sldId id="312" r:id="rId8"/>
    <p:sldId id="306" r:id="rId9"/>
  </p:sldIdLst>
  <p:sldSz cx="12192000" cy="6858000"/>
  <p:notesSz cx="68580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pos="4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 snapToGrid="0">
      <p:cViewPr varScale="1">
        <p:scale>
          <a:sx n="98" d="100"/>
          <a:sy n="98" d="100"/>
        </p:scale>
        <p:origin x="115" y="158"/>
      </p:cViewPr>
      <p:guideLst>
        <p:guide orient="horz"/>
        <p:guide pos="3840"/>
        <p:guide orient="horz" pos="725"/>
        <p:guide pos="4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63407"/>
          </a:xfrm>
          <a:prstGeom prst="rect">
            <a:avLst/>
          </a:prstGeom>
        </p:spPr>
        <p:txBody>
          <a:bodyPr vert="horz" lIns="91956" tIns="45978" rIns="91956" bIns="4597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63407"/>
          </a:xfrm>
          <a:prstGeom prst="rect">
            <a:avLst/>
          </a:prstGeom>
        </p:spPr>
        <p:txBody>
          <a:bodyPr vert="horz" lIns="91956" tIns="45978" rIns="91956" bIns="45978" rtlCol="0"/>
          <a:lstStyle>
            <a:lvl1pPr algn="r">
              <a:defRPr sz="1200"/>
            </a:lvl1pPr>
          </a:lstStyle>
          <a:p>
            <a:fld id="{D41D106E-2B22-4904-AD21-B3A07094EC6C}" type="datetimeFigureOut">
              <a:rPr lang="en-US" smtClean="0"/>
              <a:t>1/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0400" y="1154113"/>
            <a:ext cx="5538788" cy="3116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56" tIns="45978" rIns="91956" bIns="4597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44861"/>
            <a:ext cx="5486400" cy="3636705"/>
          </a:xfrm>
          <a:prstGeom prst="rect">
            <a:avLst/>
          </a:prstGeom>
        </p:spPr>
        <p:txBody>
          <a:bodyPr vert="horz" lIns="91956" tIns="45978" rIns="91956" bIns="4597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9"/>
            <a:ext cx="2971800" cy="463406"/>
          </a:xfrm>
          <a:prstGeom prst="rect">
            <a:avLst/>
          </a:prstGeom>
        </p:spPr>
        <p:txBody>
          <a:bodyPr vert="horz" lIns="91956" tIns="45978" rIns="91956" bIns="4597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772669"/>
            <a:ext cx="2971800" cy="463406"/>
          </a:xfrm>
          <a:prstGeom prst="rect">
            <a:avLst/>
          </a:prstGeom>
        </p:spPr>
        <p:txBody>
          <a:bodyPr vert="horz" lIns="91956" tIns="45978" rIns="91956" bIns="45978" rtlCol="0" anchor="b"/>
          <a:lstStyle>
            <a:lvl1pPr algn="r">
              <a:defRPr sz="1200"/>
            </a:lvl1pPr>
          </a:lstStyle>
          <a:p>
            <a:fld id="{DC7E5A74-5773-42AA-862B-65AAF3FBBB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174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D1B644-6BE7-4436-9A96-E09CCDE1CF97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CFD74-D6A8-4352-87B1-3748A2DB1D1B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082645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2">
    <p:bg>
      <p:bgPr>
        <a:solidFill>
          <a:srgbClr val="EFB6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672CE054-22A4-4F78-B5E9-341C1B2C7BBB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39EE2F5-8B35-4642-A2CE-2FB0C46E302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11533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1">
    <p:bg>
      <p:bgPr>
        <a:solidFill>
          <a:srgbClr val="F3CF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327FD73-F6FF-433B-87D4-7CB6CE5F94B3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BDA5F14-752E-48A5-B6CE-9A0EDE0AAC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7786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urple">
    <p:bg>
      <p:bgPr>
        <a:solidFill>
          <a:srgbClr val="BA9C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 userDrawn="1"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7C3EA71-6AAD-446B-9531-711C1363FFAA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071DB61-F805-41E4-ACFB-740CBBE5309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69332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ay 2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D72B86C-AD63-43FC-B7D1-F194BDE6401B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6A323C0-84D8-443A-B875-4B62C4E7DD3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723499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7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77" y="4733927"/>
            <a:ext cx="1037492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077" y="152402"/>
            <a:ext cx="245012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6367463"/>
            <a:ext cx="18288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4400" y="6367465"/>
            <a:ext cx="1117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13A286-D8FD-4E7E-B2B1-82558EFA6F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229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blue background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3429000"/>
            <a:ext cx="12192000" cy="3429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447801"/>
            <a:ext cx="12192000" cy="2209800"/>
          </a:xfrm>
        </p:spPr>
        <p:txBody>
          <a:bodyPr>
            <a:noAutofit/>
          </a:bodyPr>
          <a:lstStyle>
            <a:lvl1pPr algn="l">
              <a:defRPr sz="4800" b="1" spc="-150">
                <a:solidFill>
                  <a:schemeClr val="tx2"/>
                </a:solidFill>
                <a:latin typeface="Frutiger 45 Light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657600"/>
            <a:ext cx="10363200" cy="762000"/>
          </a:xfrm>
        </p:spPr>
        <p:txBody>
          <a:bodyPr>
            <a:normAutofit/>
          </a:bodyPr>
          <a:lstStyle>
            <a:lvl1pPr marL="0" indent="0" algn="l">
              <a:buNone/>
              <a:defRPr sz="3600" spc="-150">
                <a:solidFill>
                  <a:schemeClr val="bg1"/>
                </a:solidFill>
                <a:latin typeface="Frutiger 45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830F9-2FF4-4AB2-B69F-854A9896C9F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436101" y="152401"/>
            <a:ext cx="24511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8966295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lue background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>
          <a:xfrm>
            <a:off x="0" y="1295400"/>
            <a:ext cx="12192000" cy="5562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8F233A-FD35-4ED3-92B4-718D6DB54BF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436101" y="152401"/>
            <a:ext cx="24511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609600" y="1600200"/>
            <a:ext cx="1097280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3924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DED83-3764-4C4E-90A0-173D929E52F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604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3429001"/>
            <a:ext cx="11326284" cy="1362075"/>
          </a:xfrm>
        </p:spPr>
        <p:txBody>
          <a:bodyPr anchor="t"/>
          <a:lstStyle>
            <a:lvl1pPr algn="l">
              <a:defRPr sz="4000" b="1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" y="1928814"/>
            <a:ext cx="1132628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B9AB7-5542-474C-AA91-B8CACA7376D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749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9F650-B882-4B86-937B-68383027AEC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063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4672EC-A5A7-4558-B1F2-A5ED3FF43D2E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582FD-A500-433A-91C7-8921EAA40C8E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5256336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47268-4D05-4639-A603-D5211CA59D7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8645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906F4-CA6E-420C-BDE3-EF11E93818E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331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2F61C-42AC-4BA5-BF21-6728939C2B2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8255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A8A86-DF7B-4EBB-B0BC-02ED03F74D4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502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2164E5-D99A-43A5-8A88-A46BA76306A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1916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F835B-41BB-4996-9ABB-21ABA9000AF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96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8BE5C-7E21-4BAC-BA6D-2D96F4F616F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921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2 Columns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itle Arial 28pt Regula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0F801-82B8-4697-8B4B-E3DFE003097F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Content Placeholder 6"/>
          <p:cNvSpPr>
            <a:spLocks noGrp="1"/>
          </p:cNvSpPr>
          <p:nvPr>
            <p:ph sz="quarter" idx="15" hasCustomPrompt="1"/>
          </p:nvPr>
        </p:nvSpPr>
        <p:spPr>
          <a:xfrm>
            <a:off x="615950" y="1815989"/>
            <a:ext cx="5120640" cy="4114800"/>
          </a:xfrm>
        </p:spPr>
        <p:txBody>
          <a:bodyPr/>
          <a:lstStyle>
            <a:lvl1pPr>
              <a:buClrTx/>
              <a:defRPr sz="2000"/>
            </a:lvl1pPr>
            <a:lvl2pPr marL="514350" indent="-282575">
              <a:buClrTx/>
              <a:defRPr sz="2000"/>
            </a:lvl2pPr>
            <a:lvl3pPr marL="746125" indent="-231775">
              <a:buClrTx/>
              <a:defRPr sz="2000"/>
            </a:lvl3pPr>
            <a:lvl4pPr marL="1030288" indent="-284163">
              <a:buClrTx/>
              <a:defRPr sz="2000"/>
            </a:lvl4pPr>
            <a:lvl5pPr marL="1260475" indent="-230188">
              <a:buClrTx/>
              <a:defRPr sz="2000"/>
            </a:lvl5pPr>
          </a:lstStyle>
          <a:p>
            <a:pPr lvl="0"/>
            <a:r>
              <a:rPr lang="en-US" dirty="0" smtClean="0"/>
              <a:t>Bulleted text – Arial 2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6" hasCustomPrompt="1"/>
          </p:nvPr>
        </p:nvSpPr>
        <p:spPr>
          <a:xfrm>
            <a:off x="6455410" y="1815989"/>
            <a:ext cx="5120640" cy="4114800"/>
          </a:xfrm>
        </p:spPr>
        <p:txBody>
          <a:bodyPr/>
          <a:lstStyle>
            <a:lvl1pPr>
              <a:buClrTx/>
              <a:defRPr sz="2000"/>
            </a:lvl1pPr>
            <a:lvl2pPr marL="514350" indent="-282575">
              <a:buClrTx/>
              <a:defRPr sz="2000"/>
            </a:lvl2pPr>
            <a:lvl3pPr marL="746125" indent="-231775">
              <a:buClrTx/>
              <a:defRPr sz="2000"/>
            </a:lvl3pPr>
            <a:lvl4pPr marL="1030288" indent="-284163">
              <a:buClrTx/>
              <a:defRPr sz="2000"/>
            </a:lvl4pPr>
            <a:lvl5pPr marL="1260475" indent="-230188">
              <a:buClrTx/>
              <a:defRPr sz="2000"/>
            </a:lvl5pPr>
          </a:lstStyle>
          <a:p>
            <a:pPr lvl="0"/>
            <a:r>
              <a:rPr lang="en-US" dirty="0" smtClean="0"/>
              <a:t>Bulleted text – Arial 20pt Regular</a:t>
            </a:r>
            <a:br>
              <a:rPr lang="en-US" dirty="0" smtClean="0"/>
            </a:br>
            <a:r>
              <a:rPr lang="en-US" dirty="0" smtClean="0"/>
              <a:t>Five bullet levels are built in (hit Enter then Tab to get to the next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777654" y="6390211"/>
            <a:ext cx="4414346" cy="320040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800" baseline="0">
                <a:latin typeface="+mn-lt"/>
              </a:defRPr>
            </a:lvl1pPr>
            <a:lvl2pPr algn="l">
              <a:buNone/>
              <a:defRPr sz="600"/>
            </a:lvl2pPr>
            <a:lvl3pPr algn="l">
              <a:buNone/>
              <a:defRPr sz="600"/>
            </a:lvl3pPr>
            <a:lvl4pPr algn="l">
              <a:buNone/>
              <a:defRPr sz="600"/>
            </a:lvl4pPr>
            <a:lvl5pPr algn="l">
              <a:buNone/>
              <a:defRPr sz="600"/>
            </a:lvl5pPr>
          </a:lstStyle>
          <a:p>
            <a:pPr lvl="0"/>
            <a:r>
              <a:rPr lang="en-US" dirty="0" smtClean="0"/>
              <a:t>Source: Click to add source. Use a single space after “Source:” and a period at the end of the source. Stretch the box to the left as needed.</a:t>
            </a:r>
            <a:endParaRPr lang="en-US" dirty="0"/>
          </a:p>
        </p:txBody>
      </p:sp>
      <p:sp>
        <p:nvSpPr>
          <p:cNvPr id="11" name="Text Placeholder 2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6558902"/>
            <a:ext cx="5843753" cy="320040"/>
          </a:xfrm>
          <a:prstGeom prst="rect">
            <a:avLst/>
          </a:prstGeom>
          <a:solidFill>
            <a:schemeClr val="bg1"/>
          </a:solidFill>
        </p:spPr>
        <p:txBody>
          <a:bodyPr lIns="45720" rIns="45720" anchor="b">
            <a:noAutofit/>
          </a:bodyPr>
          <a:lstStyle>
            <a:lvl1pPr marL="0" indent="0" algn="l" defTabSz="91440">
              <a:spcBef>
                <a:spcPts val="0"/>
              </a:spcBef>
              <a:buFont typeface="+mj-lt"/>
              <a:buNone/>
              <a:defRPr sz="800" baseline="0">
                <a:solidFill>
                  <a:schemeClr val="tx1"/>
                </a:solidFill>
                <a:latin typeface="+mn-lt"/>
              </a:defRPr>
            </a:lvl1pPr>
            <a:lvl2pPr>
              <a:buNone/>
              <a:defRPr sz="600">
                <a:solidFill>
                  <a:schemeClr val="tx1"/>
                </a:solidFill>
              </a:defRPr>
            </a:lvl2pPr>
            <a:lvl3pPr>
              <a:buNone/>
              <a:defRPr sz="600">
                <a:solidFill>
                  <a:schemeClr val="tx1"/>
                </a:solidFill>
              </a:defRPr>
            </a:lvl3pPr>
            <a:lvl4pPr>
              <a:buNone/>
              <a:defRPr sz="600">
                <a:solidFill>
                  <a:schemeClr val="tx1"/>
                </a:solidFill>
              </a:defRPr>
            </a:lvl4pPr>
            <a:lvl5pPr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ONFIDENTIAL | DRA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06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D1B644-6BE7-4436-9A96-E09CCDE1CF97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CFD74-D6A8-4352-87B1-3748A2DB1D1B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322639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4672EC-A5A7-4558-B1F2-A5ED3FF43D2E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582FD-A500-433A-91C7-8921EAA40C8E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602001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326" y="1569599"/>
            <a:ext cx="5542892" cy="4611600"/>
          </a:xfrm>
        </p:spPr>
        <p:txBody>
          <a:bodyPr>
            <a:normAutofit/>
          </a:bodyPr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9526" y="1569599"/>
            <a:ext cx="5542892" cy="4611600"/>
          </a:xfrm>
        </p:spPr>
        <p:txBody>
          <a:bodyPr>
            <a:normAutofit/>
          </a:bodyPr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D0D3F7-7A16-4837-8009-385D62C25936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82F19E-B11B-44C1-9734-67B68A48F847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7096075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5326" y="1569599"/>
            <a:ext cx="5542892" cy="4611600"/>
          </a:xfrm>
        </p:spPr>
        <p:txBody>
          <a:bodyPr>
            <a:normAutofit/>
          </a:bodyPr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9526" y="1569599"/>
            <a:ext cx="5542892" cy="4611600"/>
          </a:xfrm>
        </p:spPr>
        <p:txBody>
          <a:bodyPr>
            <a:normAutofit/>
          </a:bodyPr>
          <a:lstStyle>
            <a:lvl1pPr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D0D3F7-7A16-4837-8009-385D62C25936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82F19E-B11B-44C1-9734-67B68A48F847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9703924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6D27E-2A9C-424D-A4D7-F5481CC17CA8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5EDFC1-6321-4663-92FE-BECFEF03AD1F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5221321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5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77" y="4733927"/>
            <a:ext cx="1037492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077" y="152402"/>
            <a:ext cx="245012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>
                <a:solidFill>
                  <a:srgbClr val="004B8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 rtlCol="0">
            <a:noAutofit/>
          </a:bodyPr>
          <a:lstStyle>
            <a:lvl1pPr marL="0" indent="0" algn="l" defTabSz="844083" rtl="0" eaLnBrk="1" latinLnBrk="0" hangingPunct="1">
              <a:lnSpc>
                <a:spcPct val="140000"/>
              </a:lnSpc>
              <a:spcBef>
                <a:spcPct val="0"/>
              </a:spcBef>
              <a:buNone/>
              <a:defRPr lang="en-US" sz="2031" b="0" kern="1200" dirty="0">
                <a:solidFill>
                  <a:srgbClr val="004B8D"/>
                </a:solidFill>
                <a:latin typeface="Frutiger 45 Ligh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en-US"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B150D2-9A39-4DC2-9AB7-6106AB26B3BE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5603A-9432-4A78-B142-0C873388FCFC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7251722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dirty="0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dirty="0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</a:t>
            </a:r>
            <a:r>
              <a:rPr lang="en-US" sz="646" dirty="0" err="1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Transformation_Phase</a:t>
            </a:r>
            <a:r>
              <a:rPr lang="en-US" sz="646" dirty="0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3328651-2ACD-42C0-808B-DC0B33387B66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8A2A47F-A133-4E27-9FE3-A0D6CB99C64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2236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rgbClr val="A5CC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02C9E16A-D8BD-4E1F-B870-C9FDE80DCC84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A770F15-7AA3-4630-B2BC-675589ED6B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76493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2">
    <p:bg>
      <p:bgPr>
        <a:solidFill>
          <a:srgbClr val="AFE0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 userDrawn="1"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88862FA0-8F51-4BD5-BF25-F008FA36A7D9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4D59D9A-8601-498C-9CD2-0B73783DB6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033522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1">
    <p:bg>
      <p:bgPr>
        <a:solidFill>
          <a:srgbClr val="DAF0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E486C31-3694-41D3-A3C7-15500002ED13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28D66AA-76EE-48B0-A03E-A772CEC4933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652571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2">
    <p:bg>
      <p:bgPr>
        <a:solidFill>
          <a:srgbClr val="EFB6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672CE054-22A4-4F78-B5E9-341C1B2C7BBB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39EE2F5-8B35-4642-A2CE-2FB0C46E302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440788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range 1">
    <p:bg>
      <p:bgPr>
        <a:solidFill>
          <a:srgbClr val="F3CF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327FD73-F6FF-433B-87D4-7CB6CE5F94B3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BDA5F14-752E-48A5-B6CE-9A0EDE0AAC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08744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urple">
    <p:bg>
      <p:bgPr>
        <a:solidFill>
          <a:srgbClr val="BA9C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 userDrawn="1"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7C3EA71-6AAD-446B-9531-711C1363FFAA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071DB61-F805-41E4-ACFB-740CBBE5309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1554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6D27E-2A9C-424D-A4D7-F5481CC17CA8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5EDFC1-6321-4663-92FE-BECFEF03AD1F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3386690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ay 2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D72B86C-AD63-43FC-B7D1-F194BDE6401B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6A323C0-84D8-443A-B875-4B62C4E7DD3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77946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7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77" y="4733927"/>
            <a:ext cx="1037492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077" y="152402"/>
            <a:ext cx="245012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6367463"/>
            <a:ext cx="182880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4400" y="6367465"/>
            <a:ext cx="1117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13A286-D8FD-4E7E-B2B1-82558EFA6F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300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5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77" y="4733927"/>
            <a:ext cx="1037492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077" y="152402"/>
            <a:ext cx="245012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>
                <a:solidFill>
                  <a:srgbClr val="004B8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 rtlCol="0">
            <a:noAutofit/>
          </a:bodyPr>
          <a:lstStyle>
            <a:lvl1pPr marL="0" indent="0" algn="l" defTabSz="844083" rtl="0" eaLnBrk="1" latinLnBrk="0" hangingPunct="1">
              <a:lnSpc>
                <a:spcPct val="140000"/>
              </a:lnSpc>
              <a:spcBef>
                <a:spcPct val="0"/>
              </a:spcBef>
              <a:buNone/>
              <a:defRPr lang="en-US" sz="2031" b="0" kern="1200" dirty="0">
                <a:solidFill>
                  <a:srgbClr val="004B8D"/>
                </a:solidFill>
                <a:latin typeface="Frutiger 45 Ligh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en-US"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B150D2-9A39-4DC2-9AB7-6106AB26B3BE}" type="datetime1">
              <a:rPr lang="en-US"/>
              <a:pPr>
                <a:defRPr/>
              </a:pPr>
              <a:t>1/6/2016</a:t>
            </a:fld>
            <a:endParaRPr lang="de-DE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5603A-9432-4A78-B142-0C873388FCFC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511111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dirty="0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dirty="0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</a:t>
            </a:r>
            <a:r>
              <a:rPr lang="en-US" sz="646" dirty="0" err="1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Transformation_Phase</a:t>
            </a:r>
            <a:r>
              <a:rPr lang="en-US" sz="646" dirty="0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93328651-2ACD-42C0-808B-DC0B33387B66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8A2A47F-A133-4E27-9FE3-A0D6CB99C64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7051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4">
    <p:bg>
      <p:bgPr>
        <a:solidFill>
          <a:srgbClr val="A5CC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02C9E16A-D8BD-4E1F-B870-C9FDE80DCC84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A770F15-7AA3-4630-B2BC-675589ED6B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7435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2">
    <p:bg>
      <p:bgPr>
        <a:solidFill>
          <a:srgbClr val="AFE0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 userDrawn="1"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88862FA0-8F51-4BD5-BF25-F008FA36A7D9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4D59D9A-8601-498C-9CD2-0B73783DB6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7600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een 1">
    <p:bg>
      <p:bgPr>
        <a:solidFill>
          <a:srgbClr val="DAF0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710725" y="6588125"/>
            <a:ext cx="90569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Prepared for client name</a:t>
            </a:r>
          </a:p>
        </p:txBody>
      </p:sp>
      <p:sp>
        <p:nvSpPr>
          <p:cNvPr id="5" name="TextBox 4" descr="casecode"/>
          <p:cNvSpPr txBox="1">
            <a:spLocks noChangeArrowheads="1"/>
          </p:cNvSpPr>
          <p:nvPr/>
        </p:nvSpPr>
        <p:spPr bwMode="auto">
          <a:xfrm>
            <a:off x="2366109" y="6588127"/>
            <a:ext cx="1506415" cy="29815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20131025  1215 PHS Admin Transformation_Phase II Program Office-Lifecycle.pptx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49741" y="6588125"/>
            <a:ext cx="644407" cy="9938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6" smtClean="0">
                <a:solidFill>
                  <a:srgbClr val="000000"/>
                </a:solidFill>
                <a:ea typeface="MS PGothic" panose="020B0600070205080204" pitchFamily="34" charset="-128"/>
                <a:cs typeface="Arial" pitchFamily="34" charset="0"/>
              </a:rPr>
              <a:t>Booz &amp; Company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53648" y="6465888"/>
            <a:ext cx="11490568" cy="7461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 dirty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flipV="1">
            <a:off x="353647" y="2036763"/>
            <a:ext cx="11484708" cy="74612"/>
          </a:xfrm>
          <a:prstGeom prst="rect">
            <a:avLst/>
          </a:prstGeom>
          <a:solidFill>
            <a:srgbClr val="000000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1662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0031" y="2224800"/>
            <a:ext cx="4873847" cy="3607200"/>
          </a:xfrm>
        </p:spPr>
        <p:txBody>
          <a:bodyPr/>
          <a:lstStyle>
            <a:lvl1pPr>
              <a:lnSpc>
                <a:spcPct val="140000"/>
              </a:lnSpc>
              <a:defRPr sz="2031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91693" y="2224800"/>
            <a:ext cx="4873847" cy="3607200"/>
          </a:xfrm>
        </p:spPr>
        <p:txBody>
          <a:bodyPr>
            <a:normAutofit/>
          </a:bodyPr>
          <a:lstStyle>
            <a:lvl1pPr marL="0" indent="0" algn="l">
              <a:lnSpc>
                <a:spcPct val="140000"/>
              </a:lnSpc>
              <a:spcBef>
                <a:spcPts val="0"/>
              </a:spcBef>
              <a:buNone/>
              <a:defRPr sz="2031">
                <a:solidFill>
                  <a:srgbClr val="000000"/>
                </a:solidFill>
                <a:latin typeface="+mj-lt"/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349739" y="6692900"/>
            <a:ext cx="416781" cy="99386"/>
          </a:xfrm>
        </p:spPr>
        <p:txBody>
          <a:bodyPr wrap="none" tIns="0" rIns="0" bIns="0" anchor="t">
            <a:spAutoFit/>
          </a:bodyPr>
          <a:lstStyle>
            <a:lvl1pPr>
              <a:defRPr>
                <a:solidFill>
                  <a:schemeClr val="tx1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E486C31-3694-41D3-A3C7-15500002ED13}" type="datetime1">
              <a:rPr lang="en-US">
                <a:solidFill>
                  <a:srgbClr val="000000"/>
                </a:solidFill>
              </a:rPr>
              <a:pPr>
                <a:defRPr/>
              </a:pPr>
              <a:t>1/6/20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66109" y="6692900"/>
            <a:ext cx="2082800" cy="99386"/>
          </a:xfrm>
        </p:spPr>
        <p:txBody>
          <a:bodyPr lIns="0" tIns="0" rIns="0" bIns="0" anchor="t" anchorCtr="0">
            <a:spAutoFit/>
          </a:bodyPr>
          <a:lstStyle>
            <a:lvl1pPr algn="l">
              <a:defRPr sz="64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66231" y="6573838"/>
            <a:ext cx="664308" cy="184150"/>
          </a:xfrm>
        </p:spPr>
        <p:txBody>
          <a:bodyPr lIns="0" tIns="0" bIns="0" anchor="t">
            <a:noAutofit/>
          </a:bodyPr>
          <a:lstStyle>
            <a:lvl1pPr>
              <a:defRPr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28D66AA-76EE-48B0-A03E-A772CEC4933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5270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30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29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73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77" y="4733927"/>
            <a:ext cx="1037492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55600" y="593725"/>
            <a:ext cx="11474939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5601" y="1570038"/>
            <a:ext cx="11090031" cy="461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30" name="Picture 3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077" y="152402"/>
            <a:ext cx="245012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lang="en-US" sz="1108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355600" y="6356352"/>
            <a:ext cx="2844800" cy="365125"/>
          </a:xfrm>
          <a:prstGeom prst="rect">
            <a:avLst/>
          </a:prstGeom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646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3D3ABF-1001-48D6-8764-521E564FBAB6}" type="datetime1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/6/2016</a:t>
            </a:fld>
            <a:endParaRPr lang="de-DE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7692" y="6356352"/>
            <a:ext cx="2844800" cy="365125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8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7D751E2-63AE-4BC9-8C1F-E0BB7BCAE7F5}" type="slidenum">
              <a:rPr lang="de-DE" altLang="en-US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altLang="en-US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1109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15" b="1" kern="1200">
          <a:solidFill>
            <a:srgbClr val="004B8D"/>
          </a:solidFill>
          <a:latin typeface="Frutiger 45 Ligh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5pPr>
      <a:lvl6pPr marL="422041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6pPr>
      <a:lvl7pPr marL="844083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7pPr>
      <a:lvl8pPr marL="1266124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8pPr>
      <a:lvl9pPr marL="1688165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9pPr>
    </p:titleStyle>
    <p:bodyStyle>
      <a:lvl1pPr marL="168524" indent="-168524" algn="l" rtl="0" eaLnBrk="0" fontAlgn="base" hangingPunct="0">
        <a:spcBef>
          <a:spcPts val="1777"/>
        </a:spcBef>
        <a:spcAft>
          <a:spcPct val="0"/>
        </a:spcAft>
        <a:buFont typeface="Wingdings" panose="05000000000000000000" pitchFamily="2" charset="2"/>
        <a:buChar char="§"/>
        <a:defRPr sz="1477" kern="1200">
          <a:solidFill>
            <a:schemeClr val="tx1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marL="328254" indent="-158265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–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496778" indent="-167058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•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663836" indent="-167058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–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829428" indent="-165593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•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816101" y="4733926"/>
            <a:ext cx="10375900" cy="212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10972800" cy="8842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9E064F-D187-4662-9322-678E32BA872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9436101" y="152401"/>
            <a:ext cx="24511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56292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54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spc="-150">
          <a:solidFill>
            <a:schemeClr val="tx2"/>
          </a:solidFill>
          <a:latin typeface="Frutiger 45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 spc="-150">
          <a:solidFill>
            <a:schemeClr val="tx1"/>
          </a:solidFill>
          <a:latin typeface="Frutiger 45 Light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 spc="0">
          <a:solidFill>
            <a:schemeClr val="tx1"/>
          </a:solidFill>
          <a:latin typeface="Frutiger 45 Light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 spc="0">
          <a:solidFill>
            <a:schemeClr val="tx1"/>
          </a:solidFill>
          <a:latin typeface="Frutiger 45 Light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 spc="0">
          <a:solidFill>
            <a:schemeClr val="tx1"/>
          </a:solidFill>
          <a:latin typeface="Frutiger 45 Light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 spc="0">
          <a:solidFill>
            <a:schemeClr val="tx1"/>
          </a:solidFill>
          <a:latin typeface="Frutiger 45 Light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73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4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077" y="4733927"/>
            <a:ext cx="10374923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355600" y="593725"/>
            <a:ext cx="11474939" cy="71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5601" y="1570038"/>
            <a:ext cx="11090031" cy="461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30" name="Picture 3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077" y="152402"/>
            <a:ext cx="245012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lang="en-US" sz="1108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de-DE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355600" y="6356352"/>
            <a:ext cx="2844800" cy="365125"/>
          </a:xfrm>
          <a:prstGeom prst="rect">
            <a:avLst/>
          </a:prstGeom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646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13D3ABF-1001-48D6-8764-521E564FBAB6}" type="datetime1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/6/2016</a:t>
            </a:fld>
            <a:endParaRPr lang="de-DE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7692" y="6356352"/>
            <a:ext cx="2844800" cy="365125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8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7D751E2-63AE-4BC9-8C1F-E0BB7BCAE7F5}" type="slidenum">
              <a:rPr lang="de-DE" altLang="en-US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 altLang="en-US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34380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15" b="1" kern="1200">
          <a:solidFill>
            <a:srgbClr val="004B8D"/>
          </a:solidFill>
          <a:latin typeface="Frutiger 45 Ligh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  <a:ea typeface="MS PGothic" pitchFamily="34" charset="-128"/>
        </a:defRPr>
      </a:lvl5pPr>
      <a:lvl6pPr marL="422041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6pPr>
      <a:lvl7pPr marL="844083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7pPr>
      <a:lvl8pPr marL="1266124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8pPr>
      <a:lvl9pPr marL="1688165" algn="l" rtl="0" fontAlgn="base">
        <a:spcBef>
          <a:spcPct val="0"/>
        </a:spcBef>
        <a:spcAft>
          <a:spcPct val="0"/>
        </a:spcAft>
        <a:defRPr sz="2215" b="1">
          <a:solidFill>
            <a:srgbClr val="004B8D"/>
          </a:solidFill>
          <a:latin typeface="Frutiger 45 Light"/>
        </a:defRPr>
      </a:lvl9pPr>
    </p:titleStyle>
    <p:bodyStyle>
      <a:lvl1pPr marL="168524" indent="-168524" algn="l" rtl="0" eaLnBrk="0" fontAlgn="base" hangingPunct="0">
        <a:spcBef>
          <a:spcPts val="1777"/>
        </a:spcBef>
        <a:spcAft>
          <a:spcPct val="0"/>
        </a:spcAft>
        <a:buFont typeface="Wingdings" panose="05000000000000000000" pitchFamily="2" charset="2"/>
        <a:buChar char="§"/>
        <a:defRPr sz="1477" kern="1200">
          <a:solidFill>
            <a:schemeClr val="tx1"/>
          </a:solidFill>
          <a:latin typeface="Arial" pitchFamily="34" charset="0"/>
          <a:ea typeface="MS PGothic" pitchFamily="34" charset="-128"/>
          <a:cs typeface="Arial" pitchFamily="34" charset="0"/>
        </a:defRPr>
      </a:lvl1pPr>
      <a:lvl2pPr marL="328254" indent="-158265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–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496778" indent="-167058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•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663836" indent="-167058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–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829428" indent="-165593" algn="l" rtl="0" eaLnBrk="0" fontAlgn="base" hangingPunct="0">
        <a:lnSpc>
          <a:spcPct val="90000"/>
        </a:lnSpc>
        <a:spcBef>
          <a:spcPts val="704"/>
        </a:spcBef>
        <a:spcAft>
          <a:spcPct val="0"/>
        </a:spcAft>
        <a:buFont typeface="Arial" panose="020B0604020202020204" pitchFamily="34" charset="0"/>
        <a:buChar char="•"/>
        <a:defRPr sz="1477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400" dirty="0" smtClean="0"/>
              <a:t>Digestive Health Institute</a:t>
            </a:r>
            <a:br>
              <a:rPr lang="en-US" sz="4400" dirty="0" smtClean="0"/>
            </a:br>
            <a:r>
              <a:rPr lang="en-US" sz="4000" i="1" dirty="0" smtClean="0"/>
              <a:t>Business Plan Focus Areas</a:t>
            </a:r>
            <a:endParaRPr lang="en-US" sz="4400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January 5, 2016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3134" y="4567646"/>
            <a:ext cx="431799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white"/>
                </a:solidFill>
                <a:latin typeface="Frutiger 45 Light"/>
                <a:cs typeface="Arial" panose="020B0604020202020204" pitchFamily="34" charset="0"/>
              </a:rPr>
              <a:t>Lynda </a:t>
            </a:r>
            <a:r>
              <a:rPr lang="en-US" sz="1400" b="1" dirty="0">
                <a:solidFill>
                  <a:prstClr val="white"/>
                </a:solidFill>
                <a:latin typeface="Frutiger 45 Light"/>
                <a:cs typeface="Arial" panose="020B0604020202020204" pitchFamily="34" charset="0"/>
              </a:rPr>
              <a:t>Baxter</a:t>
            </a:r>
          </a:p>
          <a:p>
            <a:r>
              <a:rPr lang="en-US" sz="1400" dirty="0">
                <a:solidFill>
                  <a:prstClr val="white"/>
                </a:solidFill>
                <a:latin typeface="Frutiger 45 Light"/>
                <a:cs typeface="Arial" panose="020B0604020202020204" pitchFamily="34" charset="0"/>
              </a:rPr>
              <a:t>Senior Director, Digestive Health Clinical </a:t>
            </a:r>
            <a:r>
              <a:rPr lang="en-US" sz="1400" dirty="0" smtClean="0">
                <a:solidFill>
                  <a:prstClr val="white"/>
                </a:solidFill>
                <a:latin typeface="Frutiger 45 Light"/>
                <a:cs typeface="Arial" panose="020B0604020202020204" pitchFamily="34" charset="0"/>
              </a:rPr>
              <a:t>Portfolio</a:t>
            </a:r>
          </a:p>
          <a:p>
            <a:endParaRPr lang="en-US" sz="1400" dirty="0">
              <a:solidFill>
                <a:prstClr val="white"/>
              </a:solidFill>
              <a:latin typeface="Frutiger 45 Light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prstClr val="white"/>
                </a:solidFill>
                <a:latin typeface="Frutiger 45 Light"/>
                <a:cs typeface="Arial" panose="020B0604020202020204" pitchFamily="34" charset="0"/>
              </a:rPr>
              <a:t>Geoff Martin</a:t>
            </a:r>
          </a:p>
          <a:p>
            <a:r>
              <a:rPr lang="en-US" sz="1400" dirty="0" smtClean="0">
                <a:solidFill>
                  <a:prstClr val="white"/>
                </a:solidFill>
                <a:latin typeface="Frutiger 45 Light"/>
                <a:cs typeface="Arial" panose="020B0604020202020204" pitchFamily="34" charset="0"/>
              </a:rPr>
              <a:t>Finance, Digestive Health and Transplant Institute</a:t>
            </a:r>
          </a:p>
        </p:txBody>
      </p:sp>
    </p:spTree>
    <p:extLst>
      <p:ext uri="{BB962C8B-B14F-4D97-AF65-F5344CB8AC3E}">
        <p14:creationId xmlns:p14="http://schemas.microsoft.com/office/powerpoint/2010/main" val="133530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estive Health Leadership Counci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4294967295"/>
          </p:nvPr>
        </p:nvSpPr>
        <p:spPr>
          <a:xfrm>
            <a:off x="1515535" y="1608669"/>
            <a:ext cx="3070225" cy="4673599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i="1" u="sng" dirty="0">
                <a:cs typeface="Arial" panose="020B0604020202020204" pitchFamily="34" charset="0"/>
              </a:rPr>
              <a:t>California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Rudy Bedford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David Chung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Mysore Nagaraja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500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i="1" u="sng" dirty="0">
                <a:cs typeface="Arial" panose="020B0604020202020204" pitchFamily="34" charset="0"/>
              </a:rPr>
              <a:t>Orego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Ken Flora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Paul Hansen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500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i="1" u="sng" dirty="0">
                <a:cs typeface="Arial" panose="020B0604020202020204" pitchFamily="34" charset="0"/>
              </a:rPr>
              <a:t>Montana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Kevin </a:t>
            </a:r>
            <a:r>
              <a:rPr lang="en-US" sz="1500" dirty="0" err="1">
                <a:cs typeface="Arial" panose="020B0604020202020204" pitchFamily="34" charset="0"/>
              </a:rPr>
              <a:t>Kolendich</a:t>
            </a:r>
            <a:r>
              <a:rPr lang="en-US" sz="1500" dirty="0">
                <a:cs typeface="Arial" panose="020B0604020202020204" pitchFamily="34" charset="0"/>
              </a:rPr>
              <a:t>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500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i="1" u="sng" dirty="0">
                <a:cs typeface="Arial" panose="020B0604020202020204" pitchFamily="34" charset="0"/>
              </a:rPr>
              <a:t>North West Washingto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solidFill>
                  <a:srgbClr val="002060"/>
                </a:solidFill>
                <a:cs typeface="Arial" panose="020B0604020202020204" pitchFamily="34" charset="0"/>
              </a:rPr>
              <a:t>Fritz Loura, MD*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500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i="1" u="sng" dirty="0">
                <a:cs typeface="Arial" panose="020B0604020202020204" pitchFamily="34" charset="0"/>
              </a:rPr>
              <a:t>Providence Health Care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500" dirty="0">
                <a:cs typeface="Arial" panose="020B0604020202020204" pitchFamily="34" charset="0"/>
              </a:rPr>
              <a:t>Kirk </a:t>
            </a:r>
            <a:r>
              <a:rPr lang="en-US" sz="1500" dirty="0" err="1">
                <a:cs typeface="Arial" panose="020B0604020202020204" pitchFamily="34" charset="0"/>
              </a:rPr>
              <a:t>Rowbotham</a:t>
            </a:r>
            <a:r>
              <a:rPr lang="en-US" sz="1500" dirty="0">
                <a:cs typeface="Arial" panose="020B0604020202020204" pitchFamily="34" charset="0"/>
              </a:rPr>
              <a:t>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500" dirty="0">
              <a:cs typeface="Arial" panose="020B0604020202020204" pitchFamily="34" charset="0"/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half" idx="4294967295"/>
          </p:nvPr>
        </p:nvSpPr>
        <p:spPr>
          <a:xfrm>
            <a:off x="4463093" y="1608669"/>
            <a:ext cx="2855912" cy="5054599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i="1" u="sng" dirty="0">
                <a:solidFill>
                  <a:prstClr val="black"/>
                </a:solidFill>
                <a:cs typeface="Arial" panose="020B0604020202020204" pitchFamily="34" charset="0"/>
              </a:rPr>
              <a:t>South East Washington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solidFill>
                  <a:prstClr val="black"/>
                </a:solidFill>
                <a:cs typeface="Arial" panose="020B0604020202020204" pitchFamily="34" charset="0"/>
              </a:rPr>
              <a:t>Randy Geldmacher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600" i="1" u="sng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i="1" u="sng" dirty="0">
                <a:cs typeface="Arial" panose="020B0604020202020204" pitchFamily="34" charset="0"/>
              </a:rPr>
              <a:t>South West Washingto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David Owens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600" i="1" u="sng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i="1" u="sng" dirty="0">
                <a:cs typeface="Arial" panose="020B0604020202020204" pitchFamily="34" charset="0"/>
              </a:rPr>
              <a:t>Western Washingto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solidFill>
                  <a:srgbClr val="002060"/>
                </a:solidFill>
                <a:cs typeface="Arial" panose="020B0604020202020204" pitchFamily="34" charset="0"/>
              </a:rPr>
              <a:t>Jack Brandabur, MD*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Mark Horton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Brian Louie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Drew Schembre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600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i="1" u="sng" dirty="0">
                <a:cs typeface="Arial" panose="020B0604020202020204" pitchFamily="34" charset="0"/>
              </a:rPr>
              <a:t>System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Jimmy Chung, MD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60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600" i="1" u="sng" dirty="0">
                <a:cs typeface="Arial" panose="020B0604020202020204" pitchFamily="34" charset="0"/>
              </a:rPr>
              <a:t>Clinical Program Servic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solidFill>
                  <a:srgbClr val="002060"/>
                </a:solidFill>
                <a:cs typeface="Arial" panose="020B0604020202020204" pitchFamily="34" charset="0"/>
              </a:rPr>
              <a:t>Lynda Baxter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Catherine Kashork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David Kennedy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Kim Nichols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cs typeface="Arial" panose="020B0604020202020204" pitchFamily="34" charset="0"/>
              </a:rPr>
              <a:t>Lisa Vance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600" i="1" u="sng" dirty="0">
              <a:cs typeface="Arial" panose="020B060402020202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n-US" sz="1600" dirty="0"/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8000999" y="1574804"/>
            <a:ext cx="2855686" cy="49953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500" i="1" u="sng" spc="-150" dirty="0">
                <a:cs typeface="Arial" panose="020B0604020202020204" pitchFamily="34" charset="0"/>
              </a:rPr>
              <a:t>Regional administrat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Amy Myers, AK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 smtClean="0">
                <a:solidFill>
                  <a:srgbClr val="002060"/>
                </a:solidFill>
                <a:cs typeface="Arial" panose="020B0604020202020204" pitchFamily="34" charset="0"/>
              </a:rPr>
              <a:t>Eric Becker, CA*</a:t>
            </a:r>
            <a:endParaRPr lang="en-US" sz="1500" spc="-15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Kelly Pagel, CA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Sara Nurse, MT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Bill Sherer, OR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Mitesh Parikh, NW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Eric Werttemberger,  NW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Andrea Fleming, PCH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Renee Sams, SER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002060"/>
                </a:solidFill>
                <a:cs typeface="Arial" panose="020B0604020202020204" pitchFamily="34" charset="0"/>
              </a:rPr>
              <a:t>Kasia Konieczny, SWR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Heidi Aylsworth, WWR</a:t>
            </a:r>
          </a:p>
          <a:p>
            <a:pPr marL="0" indent="0">
              <a:spcBef>
                <a:spcPts val="0"/>
              </a:spcBef>
              <a:buNone/>
            </a:pPr>
            <a:endParaRPr lang="en-US" sz="1500" i="1" u="sng" spc="-15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500" i="1" u="sng" spc="-150" dirty="0">
                <a:cs typeface="Arial" panose="020B0604020202020204" pitchFamily="34" charset="0"/>
              </a:rPr>
              <a:t>System administrat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Jeff Collins, MD, Clinical Counci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Mark Gargett, Digital Integrat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James Harker,  Strateg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cs typeface="Arial" panose="020B0604020202020204" pitchFamily="34" charset="0"/>
              </a:rPr>
              <a:t>Geoffrey Martin, Finance</a:t>
            </a:r>
          </a:p>
          <a:p>
            <a:pPr marL="0" indent="0">
              <a:spcBef>
                <a:spcPts val="0"/>
              </a:spcBef>
              <a:buNone/>
            </a:pPr>
            <a:endParaRPr lang="en-US" sz="1500" i="1" u="sng" spc="-150" dirty="0"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500" i="1" u="sng" spc="-150" dirty="0">
                <a:cs typeface="Arial" panose="020B0604020202020204" pitchFamily="34" charset="0"/>
              </a:rPr>
              <a:t>Hospital Operations Council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1F497D"/>
                </a:solidFill>
                <a:cs typeface="Arial" panose="020B0604020202020204" pitchFamily="34" charset="0"/>
              </a:rPr>
              <a:t>Medrice Coluccio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spc="-150" dirty="0">
                <a:solidFill>
                  <a:srgbClr val="1F497D"/>
                </a:solidFill>
                <a:cs typeface="Arial" panose="020B0604020202020204" pitchFamily="34" charset="0"/>
              </a:rPr>
              <a:t>Rand Wortman*</a:t>
            </a:r>
          </a:p>
        </p:txBody>
      </p:sp>
      <p:sp>
        <p:nvSpPr>
          <p:cNvPr id="3" name="TextBox 2"/>
          <p:cNvSpPr txBox="1"/>
          <p:nvPr/>
        </p:nvSpPr>
        <p:spPr bwMode="gray">
          <a:xfrm>
            <a:off x="1515535" y="6570132"/>
            <a:ext cx="2391833" cy="287869"/>
          </a:xfrm>
          <a:prstGeom prst="rect">
            <a:avLst/>
          </a:prstGeom>
          <a:noFill/>
        </p:spPr>
        <p:txBody>
          <a:bodyPr wrap="square" lIns="45720" rIns="45720" rtlCol="0">
            <a:noAutofit/>
          </a:bodyPr>
          <a:lstStyle/>
          <a:p>
            <a:pPr>
              <a:spcBef>
                <a:spcPts val="400"/>
              </a:spcBef>
            </a:pPr>
            <a:r>
              <a:rPr lang="en-US" sz="1400" dirty="0">
                <a:solidFill>
                  <a:srgbClr val="002060"/>
                </a:solidFill>
              </a:rPr>
              <a:t>* DH Executive Committee</a:t>
            </a:r>
          </a:p>
        </p:txBody>
      </p:sp>
      <p:sp>
        <p:nvSpPr>
          <p:cNvPr id="10" name="Rectangle 9"/>
          <p:cNvSpPr/>
          <p:nvPr/>
        </p:nvSpPr>
        <p:spPr>
          <a:xfrm>
            <a:off x="1244600" y="1574800"/>
            <a:ext cx="2133600" cy="11938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814732" y="2048934"/>
            <a:ext cx="1532467" cy="47413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25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86416" y="3463926"/>
            <a:ext cx="11815083" cy="8805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86417" y="2540000"/>
            <a:ext cx="11815083" cy="7355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003366"/>
                </a:solidFill>
                <a:latin typeface="Frutiger 45 Light"/>
                <a:cs typeface="Arial" pitchFamily="34" charset="0"/>
              </a:rPr>
              <a:t>OVERVIEW – Phase 1 Areas of </a:t>
            </a:r>
            <a:r>
              <a:rPr lang="en-US" dirty="0" smtClean="0">
                <a:solidFill>
                  <a:srgbClr val="003366"/>
                </a:solidFill>
                <a:latin typeface="Frutiger 45 Light"/>
                <a:cs typeface="Arial" pitchFamily="34" charset="0"/>
              </a:rPr>
              <a:t>Focus</a:t>
            </a:r>
            <a:endParaRPr lang="en-US" dirty="0">
              <a:latin typeface="Frutiger 45 Ligh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1516044" y="1667933"/>
            <a:ext cx="1820872" cy="685800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0E4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Preventive Care</a:t>
            </a:r>
          </a:p>
        </p:txBody>
      </p:sp>
      <p:sp>
        <p:nvSpPr>
          <p:cNvPr id="5" name="Chevron 4"/>
          <p:cNvSpPr/>
          <p:nvPr/>
        </p:nvSpPr>
        <p:spPr>
          <a:xfrm>
            <a:off x="3129334" y="1667933"/>
            <a:ext cx="1974438" cy="685800"/>
          </a:xfrm>
          <a:prstGeom prst="chevron">
            <a:avLst/>
          </a:prstGeom>
          <a:solidFill>
            <a:srgbClr val="0E4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Disease Management</a:t>
            </a:r>
          </a:p>
        </p:txBody>
      </p:sp>
      <p:sp>
        <p:nvSpPr>
          <p:cNvPr id="6" name="Chevron 5"/>
          <p:cNvSpPr/>
          <p:nvPr/>
        </p:nvSpPr>
        <p:spPr>
          <a:xfrm>
            <a:off x="4896190" y="1667933"/>
            <a:ext cx="2065848" cy="685800"/>
          </a:xfrm>
          <a:prstGeom prst="chevron">
            <a:avLst/>
          </a:prstGeom>
          <a:solidFill>
            <a:srgbClr val="0E4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Treatm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6418" y="3640379"/>
            <a:ext cx="8306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</a:rPr>
              <a:t>Colorectal</a:t>
            </a:r>
          </a:p>
          <a:p>
            <a:r>
              <a:rPr lang="en-US" sz="1200" b="1" dirty="0">
                <a:solidFill>
                  <a:prstClr val="black"/>
                </a:solidFill>
              </a:rPr>
              <a:t>health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6418" y="2617254"/>
            <a:ext cx="12954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</a:rPr>
              <a:t>Weight manage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6418" y="4729198"/>
            <a:ext cx="9991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</a:rPr>
              <a:t>Liver disease</a:t>
            </a:r>
          </a:p>
        </p:txBody>
      </p:sp>
      <p:sp>
        <p:nvSpPr>
          <p:cNvPr id="10" name="Chevron 9"/>
          <p:cNvSpPr/>
          <p:nvPr/>
        </p:nvSpPr>
        <p:spPr>
          <a:xfrm>
            <a:off x="6754456" y="1667933"/>
            <a:ext cx="1932344" cy="685800"/>
          </a:xfrm>
          <a:prstGeom prst="chevron">
            <a:avLst/>
          </a:prstGeom>
          <a:solidFill>
            <a:srgbClr val="0E4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Follow-up ca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97677" y="3523188"/>
            <a:ext cx="1720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Guidelines, screening &amp; surveillance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Patient &amp; family </a:t>
            </a:r>
            <a:r>
              <a:rPr lang="en-US" sz="1200" dirty="0">
                <a:solidFill>
                  <a:prstClr val="black"/>
                </a:solidFill>
              </a:rPr>
              <a:t>r</a:t>
            </a:r>
            <a:r>
              <a:rPr lang="en-US" sz="1200" dirty="0" smtClean="0">
                <a:solidFill>
                  <a:prstClr val="black"/>
                </a:solidFill>
              </a:rPr>
              <a:t>isk </a:t>
            </a:r>
            <a:r>
              <a:rPr lang="en-US" sz="1200" dirty="0">
                <a:solidFill>
                  <a:prstClr val="black"/>
                </a:solidFill>
              </a:rPr>
              <a:t>p</a:t>
            </a:r>
            <a:r>
              <a:rPr lang="en-US" sz="1200" dirty="0" smtClean="0">
                <a:solidFill>
                  <a:prstClr val="black"/>
                </a:solidFill>
              </a:rPr>
              <a:t>rofiles 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044504" y="3510945"/>
            <a:ext cx="9242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Medical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Surgical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Oncologic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65605" y="3514723"/>
            <a:ext cx="1630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Colon </a:t>
            </a:r>
            <a:r>
              <a:rPr lang="en-US" sz="1200" dirty="0" err="1" smtClean="0">
                <a:solidFill>
                  <a:prstClr val="black"/>
                </a:solidFill>
              </a:rPr>
              <a:t>polp</a:t>
            </a:r>
            <a:r>
              <a:rPr lang="en-US" sz="1200" dirty="0" smtClean="0">
                <a:solidFill>
                  <a:prstClr val="black"/>
                </a:solidFill>
              </a:rPr>
              <a:t> mgmt.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Inflammatory Bowel Disea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497677" y="2655433"/>
            <a:ext cx="14078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Education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Nutrition servic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165605" y="2604631"/>
            <a:ext cx="1761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Endocrinology / Diabetes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Liver Disease (NAAFLD)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44504" y="2554404"/>
            <a:ext cx="176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Non-surgical treatment i.e. Gastric Balloon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prstClr val="black"/>
                </a:solidFill>
              </a:rPr>
              <a:t>Bariatric </a:t>
            </a:r>
            <a:r>
              <a:rPr lang="en-US" sz="1200" b="1" dirty="0" smtClean="0">
                <a:solidFill>
                  <a:prstClr val="black"/>
                </a:solidFill>
              </a:rPr>
              <a:t>surgery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11262" y="2672367"/>
            <a:ext cx="13454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Clinic </a:t>
            </a:r>
            <a:r>
              <a:rPr lang="en-US" sz="1200" dirty="0">
                <a:solidFill>
                  <a:prstClr val="black"/>
                </a:solidFill>
              </a:rPr>
              <a:t>services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Exercise servic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911262" y="3540114"/>
            <a:ext cx="1416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Medical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Surgical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Oncologic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497677" y="4741641"/>
            <a:ext cx="13098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prstClr val="black"/>
                </a:solidFill>
              </a:rPr>
              <a:t>Hep</a:t>
            </a:r>
            <a:r>
              <a:rPr lang="en-US" sz="1200" dirty="0">
                <a:solidFill>
                  <a:prstClr val="black"/>
                </a:solidFill>
              </a:rPr>
              <a:t> C screen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165605" y="4741641"/>
            <a:ext cx="1472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ESLD managemen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44504" y="4741641"/>
            <a:ext cx="12722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Liver </a:t>
            </a:r>
            <a:r>
              <a:rPr lang="en-US" sz="1200" dirty="0" smtClean="0">
                <a:solidFill>
                  <a:prstClr val="black"/>
                </a:solidFill>
              </a:rPr>
              <a:t>transplant</a:t>
            </a:r>
          </a:p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prstClr val="black"/>
                </a:solidFill>
              </a:rPr>
              <a:t>Surgical 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911262" y="4741640"/>
            <a:ext cx="1925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prstClr val="black"/>
                </a:solidFill>
              </a:rPr>
              <a:t>Ongoing </a:t>
            </a:r>
            <a:r>
              <a:rPr lang="en-US" sz="1200" dirty="0" err="1">
                <a:solidFill>
                  <a:prstClr val="black"/>
                </a:solidFill>
              </a:rPr>
              <a:t>hepatology</a:t>
            </a:r>
            <a:r>
              <a:rPr lang="en-US" sz="1200" dirty="0">
                <a:solidFill>
                  <a:prstClr val="black"/>
                </a:solidFill>
              </a:rPr>
              <a:t> relationship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26878" y="1227667"/>
            <a:ext cx="2048063" cy="1862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prstClr val="black"/>
                </a:solidFill>
              </a:rPr>
              <a:t>Current Areas of Focu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819650" y="0"/>
            <a:ext cx="2552700" cy="338554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i="1" kern="0" dirty="0" smtClean="0">
                <a:solidFill>
                  <a:srgbClr val="C00000"/>
                </a:solidFill>
              </a:rPr>
              <a:t>Draft – Do not Distribute</a:t>
            </a:r>
            <a:endParaRPr lang="en-US" sz="1600" b="1" i="1" kern="0" dirty="0">
              <a:solidFill>
                <a:srgbClr val="C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753475" y="1667933"/>
            <a:ext cx="3248025" cy="685800"/>
          </a:xfrm>
          <a:prstGeom prst="rect">
            <a:avLst/>
          </a:prstGeom>
          <a:solidFill>
            <a:srgbClr val="0E4C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usiness Plan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686800" y="2545742"/>
            <a:ext cx="33147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u="sng" dirty="0" smtClean="0">
                <a:solidFill>
                  <a:prstClr val="black"/>
                </a:solidFill>
              </a:rPr>
              <a:t>Phase One, Goal </a:t>
            </a:r>
            <a:r>
              <a:rPr lang="en-US" sz="1200" b="1" u="sng" dirty="0">
                <a:solidFill>
                  <a:prstClr val="black"/>
                </a:solidFill>
              </a:rPr>
              <a:t>#</a:t>
            </a:r>
            <a:r>
              <a:rPr lang="en-US" sz="1200" b="1" u="sng" dirty="0" smtClean="0">
                <a:solidFill>
                  <a:prstClr val="black"/>
                </a:solidFill>
              </a:rPr>
              <a:t>1:</a:t>
            </a:r>
            <a:r>
              <a:rPr lang="en-US" sz="1200" b="1" dirty="0" smtClean="0">
                <a:solidFill>
                  <a:prstClr val="black"/>
                </a:solidFill>
              </a:rPr>
              <a:t> </a:t>
            </a:r>
            <a:r>
              <a:rPr lang="en-US" sz="1200" dirty="0" smtClean="0">
                <a:solidFill>
                  <a:prstClr val="black"/>
                </a:solidFill>
              </a:rPr>
              <a:t>Drive bariatric </a:t>
            </a:r>
            <a:r>
              <a:rPr lang="en-US" sz="1200" dirty="0">
                <a:solidFill>
                  <a:prstClr val="black"/>
                </a:solidFill>
              </a:rPr>
              <a:t>surgery volume growth across the </a:t>
            </a:r>
            <a:r>
              <a:rPr lang="en-US" sz="1200" dirty="0" smtClean="0">
                <a:solidFill>
                  <a:prstClr val="black"/>
                </a:solidFill>
              </a:rPr>
              <a:t>system through enabling pre/post weight management activitie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8720138" y="3485776"/>
            <a:ext cx="32480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u="sng" dirty="0" smtClean="0">
                <a:solidFill>
                  <a:prstClr val="black"/>
                </a:solidFill>
              </a:rPr>
              <a:t>Phase One, Goal #2:</a:t>
            </a:r>
            <a:r>
              <a:rPr lang="en-US" sz="1200" b="1" dirty="0" smtClean="0">
                <a:solidFill>
                  <a:prstClr val="black"/>
                </a:solidFill>
              </a:rPr>
              <a:t> </a:t>
            </a:r>
            <a:r>
              <a:rPr lang="en-US" sz="1200" dirty="0" smtClean="0">
                <a:solidFill>
                  <a:prstClr val="black"/>
                </a:solidFill>
              </a:rPr>
              <a:t>Improve</a:t>
            </a:r>
            <a:r>
              <a:rPr lang="en-US" sz="1200" b="1" dirty="0" smtClean="0">
                <a:solidFill>
                  <a:prstClr val="black"/>
                </a:solidFill>
              </a:rPr>
              <a:t> </a:t>
            </a:r>
            <a:r>
              <a:rPr lang="en-US" sz="1200" dirty="0" smtClean="0">
                <a:solidFill>
                  <a:prstClr val="black"/>
                </a:solidFill>
              </a:rPr>
              <a:t>CRC screening rates for Providence primary care patients, preventing cancer cases and capturing needed downstream services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86418" y="5605498"/>
            <a:ext cx="6156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prstClr val="black"/>
                </a:solidFill>
              </a:rPr>
              <a:t>Others</a:t>
            </a:r>
            <a:endParaRPr lang="en-US" sz="1200" b="1" dirty="0">
              <a:solidFill>
                <a:prstClr val="black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986838" y="4595073"/>
            <a:ext cx="27146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u="sng" dirty="0" smtClean="0">
                <a:solidFill>
                  <a:prstClr val="black"/>
                </a:solidFill>
              </a:rPr>
              <a:t>Phase Two</a:t>
            </a:r>
            <a:r>
              <a:rPr lang="en-US" sz="1200" dirty="0" smtClean="0">
                <a:solidFill>
                  <a:prstClr val="black"/>
                </a:solidFill>
              </a:rPr>
              <a:t> assessment of opportunity to establish a system-wide liver disease management program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986838" y="5420831"/>
            <a:ext cx="27146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u="sng" dirty="0" smtClean="0">
                <a:solidFill>
                  <a:prstClr val="black"/>
                </a:solidFill>
              </a:rPr>
              <a:t>Phase Two</a:t>
            </a:r>
            <a:r>
              <a:rPr lang="en-US" sz="1200" dirty="0" smtClean="0">
                <a:solidFill>
                  <a:prstClr val="black"/>
                </a:solidFill>
              </a:rPr>
              <a:t> identification of additional patient care and population health opportunities for DHI</a:t>
            </a:r>
            <a:endParaRPr lang="en-US" sz="1200" dirty="0">
              <a:solidFill>
                <a:prstClr val="black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152400" y="3371850"/>
            <a:ext cx="118491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52400" y="4495800"/>
            <a:ext cx="118491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152400" y="5324475"/>
            <a:ext cx="118491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992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#1: Bariatric Surgery Growth Across System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2900" y="1390650"/>
            <a:ext cx="4954610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Business Case Summary</a:t>
            </a:r>
          </a:p>
          <a:p>
            <a:endParaRPr lang="en-US" b="1" dirty="0" smtClean="0"/>
          </a:p>
          <a:p>
            <a:r>
              <a:rPr lang="en-US" b="1" dirty="0" smtClean="0"/>
              <a:t>Improved coordination and referral capture between Providence regions can drive additional volume to Centers of Focused Experti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For Example, Olympia, Spokane, and Portland are areas where market share is lower than it should be given Providence programs and cap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vestments will initially focus on providing pre and post surgical nutrition and education services, and ensuring high performance/high reliability at all surgical s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Additional investments may include building new bariatric surgery programs in regions where demand justifies it (e.g. Portlan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Robust weight management across the system will generate surgical contribution margin in the short term and position us for population health in the medium to long term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19650" y="0"/>
            <a:ext cx="2552700" cy="338554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i="1" kern="0" dirty="0" smtClean="0">
                <a:solidFill>
                  <a:srgbClr val="C00000"/>
                </a:solidFill>
              </a:rPr>
              <a:t>Draft – Do not Distribute</a:t>
            </a:r>
            <a:endParaRPr lang="en-US" sz="1600" b="1" i="1" kern="0" dirty="0">
              <a:solidFill>
                <a:srgbClr val="C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34547" t="19831" r="34181" b="17044"/>
          <a:stretch/>
        </p:blipFill>
        <p:spPr>
          <a:xfrm>
            <a:off x="6972989" y="1263957"/>
            <a:ext cx="4609411" cy="523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685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467" y="702734"/>
            <a:ext cx="10972800" cy="884238"/>
          </a:xfrm>
        </p:spPr>
        <p:txBody>
          <a:bodyPr/>
          <a:lstStyle/>
          <a:p>
            <a:r>
              <a:rPr lang="en-US" dirty="0" smtClean="0"/>
              <a:t>Bariatric Surgery Growth Details – S. Californ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19650" y="0"/>
            <a:ext cx="2552700" cy="338554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i="1" kern="0" dirty="0" smtClean="0">
                <a:solidFill>
                  <a:srgbClr val="C00000"/>
                </a:solidFill>
              </a:rPr>
              <a:t>Draft – Do not Distribute</a:t>
            </a:r>
            <a:endParaRPr lang="en-US" sz="1600" b="1" i="1" kern="0" dirty="0">
              <a:solidFill>
                <a:srgbClr val="C00000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02519"/>
              </p:ext>
            </p:extLst>
          </p:nvPr>
        </p:nvGraphicFramePr>
        <p:xfrm>
          <a:off x="931791" y="1776155"/>
          <a:ext cx="9888151" cy="1157330"/>
        </p:xfrm>
        <a:graphic>
          <a:graphicData uri="http://schemas.openxmlformats.org/drawingml/2006/table">
            <a:tbl>
              <a:tblPr/>
              <a:tblGrid>
                <a:gridCol w="1155233"/>
                <a:gridCol w="850941"/>
                <a:gridCol w="570885"/>
                <a:gridCol w="732456"/>
                <a:gridCol w="635513"/>
                <a:gridCol w="786312"/>
                <a:gridCol w="605892"/>
                <a:gridCol w="96943"/>
                <a:gridCol w="624742"/>
                <a:gridCol w="118485"/>
                <a:gridCol w="850941"/>
                <a:gridCol w="107714"/>
                <a:gridCol w="667827"/>
                <a:gridCol w="667827"/>
                <a:gridCol w="75400"/>
                <a:gridCol w="670520"/>
                <a:gridCol w="670520"/>
              </a:tblGrid>
              <a:tr h="14660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</a:tr>
              <a:tr h="15764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.</a:t>
                      </a:r>
                      <a:r>
                        <a:rPr lang="en-US" sz="9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California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ll Competitors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p 5 Competitors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vidence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Market Share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hort-term share capture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Long-term share capture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5764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iser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dependent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dars Sinai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niversal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SC</a:t>
                      </a:r>
                      <a:endParaRPr lang="en-US" sz="9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of cases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# of cases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28533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y</a:t>
                      </a:r>
                    </a:p>
                  </a:txBody>
                  <a:tcPr marL="8005" marR="8005" marT="800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138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83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0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1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757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S</a:t>
                      </a:r>
                      <a:r>
                        <a:rPr lang="en-US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GELE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3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5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634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NTUR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005" marR="8005" marT="8005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375365"/>
              </p:ext>
            </p:extLst>
          </p:nvPr>
        </p:nvGraphicFramePr>
        <p:xfrm>
          <a:off x="1832574" y="3374712"/>
          <a:ext cx="8374453" cy="704850"/>
        </p:xfrm>
        <a:graphic>
          <a:graphicData uri="http://schemas.openxmlformats.org/drawingml/2006/table">
            <a:tbl>
              <a:tblPr/>
              <a:tblGrid>
                <a:gridCol w="665860"/>
                <a:gridCol w="2881940"/>
                <a:gridCol w="866323"/>
                <a:gridCol w="660055"/>
                <a:gridCol w="660055"/>
                <a:gridCol w="660055"/>
                <a:gridCol w="660055"/>
                <a:gridCol w="660055"/>
                <a:gridCol w="660055"/>
              </a:tblGrid>
              <a:tr h="504825"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nd Total </a:t>
                      </a:r>
                      <a:endParaRPr lang="en-US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al Admissions by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itut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ized 201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RFP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ern Californ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2048932" y="4589606"/>
            <a:ext cx="855980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Framework for assessing opportunity s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re there opportunities to drive additional </a:t>
            </a:r>
            <a:r>
              <a:rPr lang="en-US" dirty="0"/>
              <a:t>cases </a:t>
            </a:r>
            <a:r>
              <a:rPr lang="en-US" dirty="0" smtClean="0"/>
              <a:t>over </a:t>
            </a:r>
            <a:r>
              <a:rPr lang="en-US" dirty="0"/>
              <a:t>short-term and </a:t>
            </a:r>
            <a:r>
              <a:rPr lang="en-US" dirty="0" smtClean="0"/>
              <a:t>long-term?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velopment of pre-post services in </a:t>
            </a:r>
            <a:r>
              <a:rPr lang="en-US" dirty="0" smtClean="0"/>
              <a:t>the Valley, South Bay, Westside </a:t>
            </a:r>
            <a:r>
              <a:rPr lang="en-US" dirty="0"/>
              <a:t>to send surgical cases to </a:t>
            </a:r>
            <a:r>
              <a:rPr lang="en-US" dirty="0" smtClean="0"/>
              <a:t>Burbank COFE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Capture of additional underlying growth in bariatric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etermine if cases are incremental to LRFP expectations</a:t>
            </a:r>
          </a:p>
        </p:txBody>
      </p:sp>
    </p:spTree>
    <p:extLst>
      <p:ext uri="{BB962C8B-B14F-4D97-AF65-F5344CB8AC3E}">
        <p14:creationId xmlns:p14="http://schemas.microsoft.com/office/powerpoint/2010/main" val="80626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220133"/>
            <a:ext cx="10972800" cy="651934"/>
          </a:xfrm>
        </p:spPr>
        <p:txBody>
          <a:bodyPr>
            <a:normAutofit/>
          </a:bodyPr>
          <a:lstStyle/>
          <a:p>
            <a:r>
              <a:rPr lang="en-US" sz="3200" dirty="0" smtClean="0"/>
              <a:t>Next Steps and Open Question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BB5831-5223-4A44-9245-133E3842A4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04077" y="5914000"/>
            <a:ext cx="6200775" cy="6667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The DHI Business Plan is being presented to Senior Council on January 26th</a:t>
            </a:r>
            <a:endParaRPr lang="en-US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592622" y="1257331"/>
            <a:ext cx="11363886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Formation of Weight Management/Bariatric Surgery Clinical Focus Group</a:t>
            </a:r>
          </a:p>
          <a:p>
            <a:pPr marL="742950" lvl="1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dirty="0"/>
              <a:t>Dr Philippe </a:t>
            </a:r>
            <a:r>
              <a:rPr lang="en-US" dirty="0" smtClean="0"/>
              <a:t>Quilici?</a:t>
            </a:r>
            <a:endParaRPr lang="en-US" dirty="0"/>
          </a:p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b="1" dirty="0" smtClean="0"/>
              <a:t>What </a:t>
            </a:r>
            <a:r>
              <a:rPr lang="en-US" b="1" dirty="0"/>
              <a:t>does the region already have planned that aligns with the DHI business plan?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Specific capital investments, physician hires, etc. in pursuit of the same goals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Planned LRFP growth vs. incremental growth that might come from the DHI business plan</a:t>
            </a:r>
          </a:p>
          <a:p>
            <a:pPr>
              <a:lnSpc>
                <a:spcPts val="1800"/>
              </a:lnSpc>
            </a:pPr>
            <a:endParaRPr lang="en-US" b="1" dirty="0" smtClean="0"/>
          </a:p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b="1" dirty="0" smtClean="0"/>
              <a:t>What </a:t>
            </a:r>
            <a:r>
              <a:rPr lang="en-US" b="1" dirty="0"/>
              <a:t>additional resources would be needed to meet growth targets in DHI business plan?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Capital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Physician hires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Forums for coordination with other regions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Centralized resources</a:t>
            </a:r>
          </a:p>
          <a:p>
            <a:pPr marL="742950" lvl="1" indent="-285750">
              <a:lnSpc>
                <a:spcPts val="1800"/>
              </a:lnSpc>
              <a:buFont typeface="Calibri" panose="020F0502020204030204" pitchFamily="34" charset="0"/>
              <a:buChar char="−"/>
            </a:pPr>
            <a:r>
              <a:rPr lang="en-US" dirty="0"/>
              <a:t>Others?</a:t>
            </a:r>
          </a:p>
          <a:p>
            <a:pPr marL="742950" lvl="1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What are the current/future constraints that might prevent the Region from realizing this growth? How can DHI help the Region overcome these constraints</a:t>
            </a:r>
            <a:r>
              <a:rPr lang="en-US" b="1" dirty="0" smtClean="0"/>
              <a:t>?</a:t>
            </a:r>
          </a:p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lnSpc>
                <a:spcPts val="1800"/>
              </a:lnSpc>
              <a:buFont typeface="Arial" panose="020B0604020202020204" pitchFamily="34" charset="0"/>
              <a:buChar char="•"/>
            </a:pPr>
            <a:r>
              <a:rPr lang="en-US" b="1" dirty="0" smtClean="0"/>
              <a:t>Any additional volumes are currently being presented as opportunities only, a specific &amp; detailed ask for additional resources will accompany any incremental volumes being added to the LRFP, with regional support, at a later dat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300475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1_Blank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2.xml><?xml version="1.0" encoding="utf-8"?>
<a:theme xmlns:a="http://schemas.openxmlformats.org/drawingml/2006/main" name="2_PHS_Blu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Blank">
  <a:themeElements>
    <a:clrScheme name="Booz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4C9BDC"/>
      </a:accent1>
      <a:accent2>
        <a:srgbClr val="76B2E4"/>
      </a:accent2>
      <a:accent3>
        <a:srgbClr val="A5CCED"/>
      </a:accent3>
      <a:accent4>
        <a:srgbClr val="066BB0"/>
      </a:accent4>
      <a:accent5>
        <a:srgbClr val="DCDCDC"/>
      </a:accent5>
      <a:accent6>
        <a:srgbClr val="BFBFBF"/>
      </a:accent6>
      <a:hlink>
        <a:srgbClr val="4C9BDC"/>
      </a:hlink>
      <a:folHlink>
        <a:srgbClr val="066BB0"/>
      </a:folHlink>
    </a:clrScheme>
    <a:fontScheme name="nachsehen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 sz="1200" dirty="0">
            <a:latin typeface="+mn-lt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000000"/>
          </a:solidFill>
          <a:tailEnd type="none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46800" rIns="90000" bIns="46800" rtlCol="0">
        <a:spAutoFit/>
      </a:bodyPr>
      <a:lstStyle>
        <a:defPPr>
          <a:defRPr sz="12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Grey 3">
      <a:srgbClr val="939393"/>
    </a:custClr>
    <a:custClr name="Grey 4">
      <a:srgbClr val="696969"/>
    </a:custClr>
    <a:custClr name="Green 1">
      <a:srgbClr val="DAF0A8"/>
    </a:custClr>
    <a:custClr name="Green 2">
      <a:srgbClr val="AFE06E"/>
    </a:custClr>
    <a:custClr name="Green 3">
      <a:srgbClr val="7DB935"/>
    </a:custClr>
    <a:custClr name="Green 4">
      <a:srgbClr val="608B2D"/>
    </a:custClr>
    <a:custClr name="Orange 1">
      <a:srgbClr val="F3CF74"/>
    </a:custClr>
    <a:custClr name="Orange 2">
      <a:srgbClr val="EFB643"/>
    </a:custClr>
    <a:custClr name="Orange 3">
      <a:srgbClr val="F18917"/>
    </a:custClr>
    <a:custClr name="Orange 4">
      <a:srgbClr val="D26308"/>
    </a:custClr>
  </a:custClr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94</TotalTime>
  <Words>845</Words>
  <Application>Microsoft Office PowerPoint</Application>
  <PresentationFormat>Widescreen</PresentationFormat>
  <Paragraphs>26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ＭＳ Ｐゴシック</vt:lpstr>
      <vt:lpstr>ＭＳ Ｐゴシック</vt:lpstr>
      <vt:lpstr>Arial</vt:lpstr>
      <vt:lpstr>Book Antiqua</vt:lpstr>
      <vt:lpstr>Calibri</vt:lpstr>
      <vt:lpstr>Frutiger 45 Light</vt:lpstr>
      <vt:lpstr>Wingdings</vt:lpstr>
      <vt:lpstr>1_Blank</vt:lpstr>
      <vt:lpstr>2_PHS_Blue</vt:lpstr>
      <vt:lpstr>2_Blank</vt:lpstr>
      <vt:lpstr>think-cell Slide</vt:lpstr>
      <vt:lpstr>Digestive Health Institute Business Plan Focus Areas</vt:lpstr>
      <vt:lpstr>Digestive Health Leadership Council</vt:lpstr>
      <vt:lpstr>OVERVIEW – Phase 1 Areas of Focus</vt:lpstr>
      <vt:lpstr>Goal #1: Bariatric Surgery Growth Across System </vt:lpstr>
      <vt:lpstr>Bariatric Surgery Growth Details – S. California</vt:lpstr>
      <vt:lpstr>Next Steps and Open Questions</vt:lpstr>
    </vt:vector>
  </TitlesOfParts>
  <Company>Providence Health &amp; Servic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Kennedy, David R</dc:creator>
  <cp:lastModifiedBy>Sprengel, Julie J</cp:lastModifiedBy>
  <cp:revision>83</cp:revision>
  <cp:lastPrinted>2016-01-06T20:02:28Z</cp:lastPrinted>
  <dcterms:created xsi:type="dcterms:W3CDTF">2015-12-07T19:41:22Z</dcterms:created>
  <dcterms:modified xsi:type="dcterms:W3CDTF">2016-01-06T20:35:56Z</dcterms:modified>
</cp:coreProperties>
</file>